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4"/>
  </p:notesMasterIdLst>
  <p:handoutMasterIdLst>
    <p:handoutMasterId r:id="rId35"/>
  </p:handoutMasterIdLst>
  <p:sldIdLst>
    <p:sldId id="263" r:id="rId5"/>
    <p:sldId id="259" r:id="rId6"/>
    <p:sldId id="261" r:id="rId7"/>
    <p:sldId id="262" r:id="rId8"/>
    <p:sldId id="448" r:id="rId9"/>
    <p:sldId id="449" r:id="rId10"/>
    <p:sldId id="450" r:id="rId11"/>
    <p:sldId id="266" r:id="rId12"/>
    <p:sldId id="267" r:id="rId13"/>
    <p:sldId id="270" r:id="rId14"/>
    <p:sldId id="311" r:id="rId15"/>
    <p:sldId id="312" r:id="rId16"/>
    <p:sldId id="452" r:id="rId17"/>
    <p:sldId id="456" r:id="rId18"/>
    <p:sldId id="457" r:id="rId19"/>
    <p:sldId id="458" r:id="rId20"/>
    <p:sldId id="459" r:id="rId21"/>
    <p:sldId id="460" r:id="rId22"/>
    <p:sldId id="461" r:id="rId23"/>
    <p:sldId id="462" r:id="rId24"/>
    <p:sldId id="463" r:id="rId25"/>
    <p:sldId id="464" r:id="rId26"/>
    <p:sldId id="465" r:id="rId27"/>
    <p:sldId id="466" r:id="rId28"/>
    <p:sldId id="467" r:id="rId29"/>
    <p:sldId id="468" r:id="rId30"/>
    <p:sldId id="469" r:id="rId31"/>
    <p:sldId id="470" r:id="rId32"/>
    <p:sldId id="276" r:id="rId33"/>
  </p:sldIdLst>
  <p:sldSz cx="12192000" cy="6858000"/>
  <p:notesSz cx="6858000" cy="9144000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27"/>
    <a:srgbClr val="0087BE"/>
    <a:srgbClr val="00F2CC"/>
    <a:srgbClr val="FFFFFF"/>
    <a:srgbClr val="009999"/>
    <a:srgbClr val="BECDD7"/>
    <a:srgbClr val="004669"/>
    <a:srgbClr val="E6E6E6"/>
    <a:srgbClr val="EEEE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34FE333-2B04-4618-8097-0E2D20BE4588}" v="51" dt="2022-10-24T12:19:25.177"/>
    <p1510:client id="{A4A8D7AD-E78F-4FD2-ABEC-485A819AB0CE}" v="2" dt="2022-10-24T13:47:47.331"/>
    <p1510:client id="{E1FA9107-C1CE-49D7-8618-683DFD459916}" v="58" dt="2022-10-24T12:27:25.871"/>
  </p1510:revLst>
</p1510:revInfo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4586" autoAdjust="0"/>
  </p:normalViewPr>
  <p:slideViewPr>
    <p:cSldViewPr snapToGrid="0">
      <p:cViewPr varScale="1">
        <p:scale>
          <a:sx n="84" d="100"/>
          <a:sy n="84" d="100"/>
        </p:scale>
        <p:origin x="114" y="390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42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/>
              <a:t>10/28/2022</a:t>
            </a:fld>
            <a:endParaRPr lang="en-US" sz="105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>
                <a:solidFill>
                  <a:schemeClr val="accent2"/>
                </a:solidFill>
              </a:rPr>
              <a:t>Hand out</a:t>
            </a:r>
            <a:r>
              <a:rPr lang="en-US" sz="1050">
                <a:solidFill>
                  <a:schemeClr val="accent2"/>
                </a:solidFill>
              </a:rPr>
              <a:t> </a:t>
            </a:r>
            <a:fld id="{C92BABF8-1341-4DCB-864A-D83C08BEEAE4}" type="slidenum">
              <a:rPr lang="en-US" sz="1050" smtClean="0"/>
              <a:t>‹#›</a:t>
            </a:fld>
            <a:endParaRPr lang="en-US" sz="1050"/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/>
            </a:lvl1pPr>
          </a:lstStyle>
          <a:p>
            <a:endParaRPr lang="en-US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/>
            </a:lvl1pPr>
          </a:lstStyle>
          <a:p>
            <a:fld id="{76FBC1AF-E4C9-412F-9B6D-66CD520F95DB}" type="datetimeFigureOut">
              <a:rPr lang="en-US" smtClean="0"/>
              <a:pPr/>
              <a:t>10/28/2022</a:t>
            </a:fld>
            <a:endParaRPr lang="en-US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/>
            </a:lvl1pPr>
          </a:lstStyle>
          <a:p>
            <a:endParaRPr lang="en-US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4587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/>
              <a:t>Benchmark program should be deterministic.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/>
              <a:t>Three associated workloads: small, medium, large.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/>
              <a:t>Compiling, instantiating and executing the workload should be completed in order of seconds.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/>
              <a:t>Benchmark program should only import WASI functions.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/>
              <a:t>Input given through I/O and results reported through I/O.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/>
              <a:t>Repeated executions (25) for good statistical analyses.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/>
              <a:t>High Priority to prevent preemption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/>
              <a:t>Pinned to specific </a:t>
            </a:r>
            <a:r>
              <a:rPr lang="en-US" dirty="0" err="1"/>
              <a:t>cpu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1850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66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89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604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2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37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82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325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361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889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911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196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647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673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225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486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85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11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9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03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823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22 | Dr Ajay Chhokra, Chris Woods | T SSP AVI US| Febru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626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491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812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591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08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3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22 | Dr Ajay Chhokra, Chris Woods | T SSP AVI US| Febru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610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426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533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0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/>
              <a:t>Unrestricted | © Siemens 2022 | Dr Ajay Chhokra, Chris Woods | T SSP AVI US| Febru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48" r:id="rId19"/>
    <p:sldLayoutId id="2147483749" r:id="rId20"/>
    <p:sldLayoutId id="2147483750" r:id="rId21"/>
    <p:sldLayoutId id="2147483745" r:id="rId22"/>
    <p:sldLayoutId id="2147483746" r:id="rId23"/>
    <p:sldLayoutId id="2147483747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4" r:id="rId31"/>
    <p:sldLayoutId id="2147483708" r:id="rId32"/>
    <p:sldLayoutId id="2147483655" r:id="rId33"/>
    <p:sldLayoutId id="2147483742" r:id="rId34"/>
    <p:sldLayoutId id="2147483677" r:id="rId35"/>
    <p:sldLayoutId id="2147483709" r:id="rId36"/>
    <p:sldLayoutId id="2147483751" r:id="rId37"/>
    <p:sldLayoutId id="2147483691" r:id="rId38"/>
    <p:sldLayoutId id="2147483752" r:id="rId39"/>
    <p:sldLayoutId id="2147483692" r:id="rId40"/>
    <p:sldLayoutId id="2147483650" r:id="rId41"/>
    <p:sldLayoutId id="2147483665" r:id="rId42"/>
    <p:sldLayoutId id="2147483666" r:id="rId43"/>
    <p:sldLayoutId id="2147483697" r:id="rId44"/>
    <p:sldLayoutId id="2147483698" r:id="rId45"/>
    <p:sldLayoutId id="2147483652" r:id="rId46"/>
    <p:sldLayoutId id="2147483680" r:id="rId47"/>
    <p:sldLayoutId id="2147483694" r:id="rId48"/>
    <p:sldLayoutId id="2147483687" r:id="rId49"/>
    <p:sldLayoutId id="2147483681" r:id="rId50"/>
    <p:sldLayoutId id="2147483690" r:id="rId51"/>
    <p:sldLayoutId id="2147483711" r:id="rId52"/>
    <p:sldLayoutId id="2147483682" r:id="rId53"/>
    <p:sldLayoutId id="2147483678" r:id="rId5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3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3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3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3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3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3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3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3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3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3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3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3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3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3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3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3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3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3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MatthiasJReisinger/PolyBenchC-4.2.1" TargetMode="External"/><Relationship Id="rId3" Type="http://schemas.openxmlformats.org/officeDocument/2006/relationships/hyperlink" Target="https://github.com/PSPDFKit-labs/pspdfkit-webassembly-benchmark" TargetMode="External"/><Relationship Id="rId7" Type="http://schemas.openxmlformats.org/officeDocument/2006/relationships/hyperlink" Target="https://github.com/eembc/coremark" TargetMode="External"/><Relationship Id="rId2" Type="http://schemas.openxmlformats.org/officeDocument/2006/relationships/hyperlink" Target="https://github.com/WebKit/WebKit/tree/main/PerformanceTests/JetStream2/wasm" TargetMode="External"/><Relationship Id="rId1" Type="http://schemas.openxmlformats.org/officeDocument/2006/relationships/slideLayout" Target="../slideLayouts/slideLayout33.xml"/><Relationship Id="rId6" Type="http://schemas.openxmlformats.org/officeDocument/2006/relationships/hyperlink" Target="https://kripken.github.io/embenchen/" TargetMode="External"/><Relationship Id="rId5" Type="http://schemas.openxmlformats.org/officeDocument/2006/relationships/hyperlink" Target="http://kripken.github.io/Massive/" TargetMode="External"/><Relationship Id="rId4" Type="http://schemas.openxmlformats.org/officeDocument/2006/relationships/hyperlink" Target="https://github.com/WebAssembly/benchmarks/tree/master/proposals" TargetMode="External"/><Relationship Id="rId9" Type="http://schemas.openxmlformats.org/officeDocument/2006/relationships/hyperlink" Target="https://github.com/bytecodealliance/sightglass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6BC328-ECDA-430F-9AF7-7A66BC336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1414464"/>
            <a:ext cx="11376788" cy="2462213"/>
          </a:xfrm>
        </p:spPr>
        <p:txBody>
          <a:bodyPr/>
          <a:lstStyle/>
          <a:p>
            <a:r>
              <a:rPr lang="en-US"/>
              <a:t>WASM Performance Investig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F965B40-E968-4584-9AF5-F4351F694AA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Dr Ajay Chhokra. (ajay.chhokra@siemens.com)</a:t>
            </a:r>
          </a:p>
          <a:p>
            <a:r>
              <a:rPr lang="en-US" dirty="0"/>
              <a:t>Chris Woods. (chris.woods@siemens.com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0376F-08D2-4D94-A295-8F08EA8DB56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22 | Dr Ajay Chhokra, Chris Woods | T SSP AVI US| October 2022</a:t>
            </a:r>
          </a:p>
        </p:txBody>
      </p:sp>
    </p:spTree>
    <p:extLst>
      <p:ext uri="{BB962C8B-B14F-4D97-AF65-F5344CB8AC3E}">
        <p14:creationId xmlns:p14="http://schemas.microsoft.com/office/powerpoint/2010/main" val="26095493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40AE38-0446-ED9C-1869-3711C1E624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chain Overview &amp; More Test Combinati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1235D7-6B24-7910-6D64-4666ACE35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0CF3DD-DDA7-CD16-FA22-E069988EBE1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788D97D5-4227-BF92-5AC1-C7D0AFDC5B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2050" y="1328737"/>
            <a:ext cx="9867900" cy="4200525"/>
          </a:xfrm>
          <a:prstGeom prst="rect">
            <a:avLst/>
          </a:prstGeom>
        </p:spPr>
      </p:pic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95E3501C-B146-9A2B-1F1F-32FA59496BF4}"/>
              </a:ext>
            </a:extLst>
          </p:cNvPr>
          <p:cNvSpPr/>
          <p:nvPr/>
        </p:nvSpPr>
        <p:spPr>
          <a:xfrm>
            <a:off x="2462541" y="1328737"/>
            <a:ext cx="1702051" cy="806365"/>
          </a:xfrm>
          <a:prstGeom prst="wedgeRectCallout">
            <a:avLst>
              <a:gd name="adj1" fmla="val -22429"/>
              <a:gd name="adj2" fmla="val 8068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sz="1200" dirty="0"/>
              <a:t>Design Variables:</a:t>
            </a:r>
          </a:p>
          <a:p>
            <a:pPr algn="l"/>
            <a:r>
              <a:rPr lang="en-US" sz="1200" dirty="0"/>
              <a:t>Optimization levels O0-O3</a:t>
            </a:r>
          </a:p>
        </p:txBody>
      </p:sp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id="{3D1C5C7D-66A5-609C-A9DF-816CF104B711}"/>
              </a:ext>
            </a:extLst>
          </p:cNvPr>
          <p:cNvSpPr/>
          <p:nvPr/>
        </p:nvSpPr>
        <p:spPr>
          <a:xfrm>
            <a:off x="3965109" y="4632349"/>
            <a:ext cx="1702051" cy="688078"/>
          </a:xfrm>
          <a:prstGeom prst="wedgeRectCallout">
            <a:avLst>
              <a:gd name="adj1" fmla="val -20833"/>
              <a:gd name="adj2" fmla="val -7234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sz="1200"/>
              <a:t>Design Variables:</a:t>
            </a:r>
          </a:p>
          <a:p>
            <a:pPr algn="l"/>
            <a:r>
              <a:rPr lang="en-US" sz="1200"/>
              <a:t>Optimization levels O0-O4</a:t>
            </a: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F1ABF978-E384-2EA5-6C69-9EF5566C8F0F}"/>
              </a:ext>
            </a:extLst>
          </p:cNvPr>
          <p:cNvSpPr/>
          <p:nvPr/>
        </p:nvSpPr>
        <p:spPr>
          <a:xfrm>
            <a:off x="8653296" y="594239"/>
            <a:ext cx="1702051" cy="597529"/>
          </a:xfrm>
          <a:prstGeom prst="wedgeRectCallout">
            <a:avLst>
              <a:gd name="adj1" fmla="val -21897"/>
              <a:gd name="adj2" fmla="val 7310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sz="1200"/>
              <a:t>Design Variables:</a:t>
            </a:r>
          </a:p>
          <a:p>
            <a:pPr algn="l"/>
            <a:r>
              <a:rPr lang="en-US" sz="1200"/>
              <a:t>CPU-features</a:t>
            </a:r>
          </a:p>
        </p:txBody>
      </p:sp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B9AB11A5-C9B7-C2E4-9991-DC85AF1561BE}"/>
              </a:ext>
            </a:extLst>
          </p:cNvPr>
          <p:cNvSpPr/>
          <p:nvPr/>
        </p:nvSpPr>
        <p:spPr>
          <a:xfrm>
            <a:off x="10178924" y="2135102"/>
            <a:ext cx="1702051" cy="597529"/>
          </a:xfrm>
          <a:prstGeom prst="wedgeRectCallout">
            <a:avLst>
              <a:gd name="adj1" fmla="val -55408"/>
              <a:gd name="adj2" fmla="val 912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sz="1200"/>
              <a:t>Design Variables:</a:t>
            </a:r>
          </a:p>
          <a:p>
            <a:pPr algn="l"/>
            <a:r>
              <a:rPr lang="en-US" sz="1200"/>
              <a:t>Backends</a:t>
            </a:r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6A0D2FE4-AE1B-8781-21F4-3F96274E0766}"/>
              </a:ext>
            </a:extLst>
          </p:cNvPr>
          <p:cNvSpPr/>
          <p:nvPr/>
        </p:nvSpPr>
        <p:spPr>
          <a:xfrm>
            <a:off x="10178923" y="3240231"/>
            <a:ext cx="1702051" cy="597529"/>
          </a:xfrm>
          <a:prstGeom prst="wedgeRectCallout">
            <a:avLst>
              <a:gd name="adj1" fmla="val -61791"/>
              <a:gd name="adj2" fmla="val 8219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sz="1200"/>
              <a:t>Design Variables:</a:t>
            </a:r>
          </a:p>
          <a:p>
            <a:pPr algn="l"/>
            <a:r>
              <a:rPr lang="en-US" sz="1200"/>
              <a:t>Backends</a:t>
            </a:r>
          </a:p>
        </p:txBody>
      </p:sp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01C49654-106E-F432-D864-B40AA5415EF3}"/>
              </a:ext>
            </a:extLst>
          </p:cNvPr>
          <p:cNvSpPr/>
          <p:nvPr/>
        </p:nvSpPr>
        <p:spPr>
          <a:xfrm>
            <a:off x="8390744" y="5068702"/>
            <a:ext cx="1702051" cy="734497"/>
          </a:xfrm>
          <a:prstGeom prst="wedgeRectCallout">
            <a:avLst>
              <a:gd name="adj1" fmla="val 52571"/>
              <a:gd name="adj2" fmla="val -7234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US" sz="1200" dirty="0"/>
              <a:t>Design Variables:</a:t>
            </a:r>
          </a:p>
          <a:p>
            <a:pPr algn="l"/>
            <a:r>
              <a:rPr lang="en-US" sz="1200" dirty="0"/>
              <a:t>Optimization levels O0-O4</a:t>
            </a:r>
          </a:p>
        </p:txBody>
      </p:sp>
    </p:spTree>
    <p:extLst>
      <p:ext uri="{BB962C8B-B14F-4D97-AF65-F5344CB8AC3E}">
        <p14:creationId xmlns:p14="http://schemas.microsoft.com/office/powerpoint/2010/main" val="9469340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2354C-E18A-66B0-3DD1-2FC36B9695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  <a:r>
              <a:rPr lang="en-US"/>
              <a:t>: Matrix Multiplica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22E1AC-90BD-6ADE-C5E9-A28AEE8FC0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9C939-204B-8E41-F086-7BE66C462A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10" name="Picture 9" descr="Chart, waterfall chart&#10;&#10;Description automatically generated">
            <a:extLst>
              <a:ext uri="{FF2B5EF4-FFF2-40B4-BE49-F238E27FC236}">
                <a16:creationId xmlns:a16="http://schemas.microsoft.com/office/drawing/2014/main" id="{535F6C72-7A8A-8896-B331-0D60756140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3690" y="1751563"/>
            <a:ext cx="10064620" cy="335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4302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2354C-E18A-66B0-3DD1-2FC36B9695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  <a:r>
              <a:rPr lang="en-US"/>
              <a:t>: Matrix Multiplica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22E1AC-90BD-6ADE-C5E9-A28AEE8FC0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9C939-204B-8E41-F086-7BE66C462A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7" name="Picture 6" descr="Chart, waterfall chart&#10;&#10;Description automatically generated">
            <a:extLst>
              <a:ext uri="{FF2B5EF4-FFF2-40B4-BE49-F238E27FC236}">
                <a16:creationId xmlns:a16="http://schemas.microsoft.com/office/drawing/2014/main" id="{6600E968-8A8D-41D1-F37B-1C74A89546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7000"/>
            <a:ext cx="1219200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6765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2354C-E18A-66B0-3DD1-2FC36B9695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Matrix Multiplica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22E1AC-90BD-6ADE-C5E9-A28AEE8FC0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9C939-204B-8E41-F086-7BE66C462A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6" name="Picture 5" descr="Chart, bar chart, waterfall chart&#10;&#10;Description automatically generated">
            <a:extLst>
              <a:ext uri="{FF2B5EF4-FFF2-40B4-BE49-F238E27FC236}">
                <a16:creationId xmlns:a16="http://schemas.microsoft.com/office/drawing/2014/main" id="{BD2F2CA7-70BE-F174-68FC-4C0B6D4E34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7000"/>
            <a:ext cx="1219200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1445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1178AE-B391-BCE9-F08D-E73A918742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TSP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91AC04-76A4-6A40-07DF-CC0F4832CA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36F866-7C99-A6CD-0E87-0627F421E7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6" name="Picture 5" descr="Chart, waterfall chart&#10;&#10;Description automatically generated">
            <a:extLst>
              <a:ext uri="{FF2B5EF4-FFF2-40B4-BE49-F238E27FC236}">
                <a16:creationId xmlns:a16="http://schemas.microsoft.com/office/drawing/2014/main" id="{86AA52D4-7203-286D-47DF-F53E3060AD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7000"/>
            <a:ext cx="1219200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04391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F9E9E-DF66-BFAC-E761-EB2856C1AF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TSP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E1A958-0681-4429-B609-1BE13E737A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7B6EE9-CD8C-4A28-EC82-1BA803D28F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6" name="Picture 5" descr="Chart, bar chart&#10;&#10;Description automatically generated">
            <a:extLst>
              <a:ext uri="{FF2B5EF4-FFF2-40B4-BE49-F238E27FC236}">
                <a16:creationId xmlns:a16="http://schemas.microsoft.com/office/drawing/2014/main" id="{D2D0552F-5C85-A6CF-6EFE-3E55357021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7000"/>
            <a:ext cx="1219200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4664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23C1AD-293B-37C6-737F-FCEB53EEF5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TSP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4B68C3-C706-885B-DBEA-32A453AB85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837276-5C1C-58D9-14F0-7F53ABFB9C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6</a:t>
            </a:fld>
            <a:endParaRPr lang="en-US"/>
          </a:p>
        </p:txBody>
      </p:sp>
      <p:pic>
        <p:nvPicPr>
          <p:cNvPr id="6" name="Picture 5" descr="Chart, bar chart, waterfall chart&#10;&#10;Description automatically generated">
            <a:extLst>
              <a:ext uri="{FF2B5EF4-FFF2-40B4-BE49-F238E27FC236}">
                <a16:creationId xmlns:a16="http://schemas.microsoft.com/office/drawing/2014/main" id="{03FBCD75-79AC-3EDA-D09B-B4237FBCB8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7000"/>
            <a:ext cx="1219200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6262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33806F-D868-B5B9-1463-3A6269122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Sor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FB8EB4-E608-E95E-2A53-E5CB2D95E4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A6C6B3-A6E4-28C3-7125-A2DF48837C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7</a:t>
            </a:fld>
            <a:endParaRPr lang="en-US"/>
          </a:p>
        </p:txBody>
      </p:sp>
      <p:pic>
        <p:nvPicPr>
          <p:cNvPr id="6" name="Picture 5" descr="Chart, bar chart&#10;&#10;Description automatically generated">
            <a:extLst>
              <a:ext uri="{FF2B5EF4-FFF2-40B4-BE49-F238E27FC236}">
                <a16:creationId xmlns:a16="http://schemas.microsoft.com/office/drawing/2014/main" id="{75646356-4AEF-9416-81B8-937B262F48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7000"/>
            <a:ext cx="1219200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3843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02651-74A7-872B-FB75-71BEEDFAEF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Sor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1F6F72-E011-A616-94A1-161B95DD0F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0A35C-FCBC-66D3-CC1E-42FFA4C7E7F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8</a:t>
            </a:fld>
            <a:endParaRPr lang="en-US"/>
          </a:p>
        </p:txBody>
      </p:sp>
      <p:pic>
        <p:nvPicPr>
          <p:cNvPr id="6" name="Picture 5" descr="Chart, bar chart&#10;&#10;Description automatically generated">
            <a:extLst>
              <a:ext uri="{FF2B5EF4-FFF2-40B4-BE49-F238E27FC236}">
                <a16:creationId xmlns:a16="http://schemas.microsoft.com/office/drawing/2014/main" id="{99C2E798-DDA2-1A4C-8BE0-641657B6D3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7000"/>
            <a:ext cx="1219200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0856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98CF8F-5C7E-F666-B829-7C56ACA64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Sor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2E9032-3B7D-0518-AF3B-EC96FB567F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3D488F-A6B0-1C34-1F13-6BA7DB4E67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9</a:t>
            </a:fld>
            <a:endParaRPr lang="en-US"/>
          </a:p>
        </p:txBody>
      </p:sp>
      <p:pic>
        <p:nvPicPr>
          <p:cNvPr id="6" name="Picture 5" descr="Chart, box and whisker chart&#10;&#10;Description automatically generated">
            <a:extLst>
              <a:ext uri="{FF2B5EF4-FFF2-40B4-BE49-F238E27FC236}">
                <a16:creationId xmlns:a16="http://schemas.microsoft.com/office/drawing/2014/main" id="{EF14C3E7-1CD1-BBFC-941C-4AF5EABE93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7000"/>
            <a:ext cx="1219200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5006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5C3193-2E28-4B86-90FC-F5BE56115A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eas of Interes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82552A7-8C03-4BE2-B2F4-0A61933EBD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213709-28CB-41EF-8F52-6BC0583DFC6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BC4799-027F-CFC2-C743-E467EF9475C1}"/>
              </a:ext>
            </a:extLst>
          </p:cNvPr>
          <p:cNvSpPr/>
          <p:nvPr/>
        </p:nvSpPr>
        <p:spPr>
          <a:xfrm>
            <a:off x="1059160" y="2102432"/>
            <a:ext cx="4076511" cy="526093"/>
          </a:xfrm>
          <a:prstGeom prst="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dirty="0"/>
              <a:t>Range of supported devic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356C966-7D94-D4D1-0FC5-E81286B617E2}"/>
              </a:ext>
            </a:extLst>
          </p:cNvPr>
          <p:cNvSpPr/>
          <p:nvPr/>
        </p:nvSpPr>
        <p:spPr>
          <a:xfrm>
            <a:off x="1059160" y="2893660"/>
            <a:ext cx="4076511" cy="526093"/>
          </a:xfrm>
          <a:prstGeom prst="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dirty="0"/>
              <a:t>Legacy Software Suppor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1178FDF-EEC1-F88F-E96B-CE0E88C39206}"/>
              </a:ext>
            </a:extLst>
          </p:cNvPr>
          <p:cNvSpPr/>
          <p:nvPr/>
        </p:nvSpPr>
        <p:spPr>
          <a:xfrm>
            <a:off x="1059159" y="3684888"/>
            <a:ext cx="4076511" cy="526093"/>
          </a:xfrm>
          <a:prstGeom prst="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dirty="0"/>
              <a:t>Performance and consistenc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107A77A-F53A-D80E-8D94-AC9A7F3B7665}"/>
              </a:ext>
            </a:extLst>
          </p:cNvPr>
          <p:cNvSpPr/>
          <p:nvPr/>
        </p:nvSpPr>
        <p:spPr>
          <a:xfrm>
            <a:off x="1059158" y="1396799"/>
            <a:ext cx="6888606" cy="5260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dirty="0"/>
              <a:t>Cyber Physical Contro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AF60868-825B-291C-5E2C-1BF57CC55B5D}"/>
              </a:ext>
            </a:extLst>
          </p:cNvPr>
          <p:cNvSpPr/>
          <p:nvPr/>
        </p:nvSpPr>
        <p:spPr>
          <a:xfrm>
            <a:off x="7797452" y="1396799"/>
            <a:ext cx="3876806" cy="491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B024426-A590-7A82-110C-4458A6F700A0}"/>
              </a:ext>
            </a:extLst>
          </p:cNvPr>
          <p:cNvSpPr txBox="1"/>
          <p:nvPr/>
        </p:nvSpPr>
        <p:spPr>
          <a:xfrm>
            <a:off x="7903923" y="1534438"/>
            <a:ext cx="363254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rom Robots to Trains</a:t>
            </a:r>
          </a:p>
        </p:txBody>
      </p:sp>
      <p:pic>
        <p:nvPicPr>
          <p:cNvPr id="9" name="Graphic 8" descr="Robot Hand outline">
            <a:extLst>
              <a:ext uri="{FF2B5EF4-FFF2-40B4-BE49-F238E27FC236}">
                <a16:creationId xmlns:a16="http://schemas.microsoft.com/office/drawing/2014/main" id="{AFDC0BA5-191F-3BFD-E893-1A6DFAFD0E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42119" y="1890382"/>
            <a:ext cx="1686943" cy="1686943"/>
          </a:xfrm>
          <a:prstGeom prst="rect">
            <a:avLst/>
          </a:prstGeom>
        </p:spPr>
      </p:pic>
      <p:pic>
        <p:nvPicPr>
          <p:cNvPr id="12" name="Graphic 11" descr="Train outline">
            <a:extLst>
              <a:ext uri="{FF2B5EF4-FFF2-40B4-BE49-F238E27FC236}">
                <a16:creationId xmlns:a16="http://schemas.microsoft.com/office/drawing/2014/main" id="{9EE227A3-AE7D-6378-232A-C4018CA818C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77246" y="4452857"/>
            <a:ext cx="1686943" cy="1686943"/>
          </a:xfrm>
          <a:prstGeom prst="rect">
            <a:avLst/>
          </a:prstGeom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B4C675F3-DDCA-5CC3-F769-5E95A0A99A96}"/>
              </a:ext>
            </a:extLst>
          </p:cNvPr>
          <p:cNvSpPr/>
          <p:nvPr/>
        </p:nvSpPr>
        <p:spPr>
          <a:xfrm>
            <a:off x="9470039" y="3656270"/>
            <a:ext cx="701356" cy="633656"/>
          </a:xfrm>
          <a:prstGeom prst="downArrow">
            <a:avLst/>
          </a:prstGeom>
          <a:solidFill>
            <a:schemeClr val="accent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83870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6DD3A0-ADBE-15D5-645A-45A8DE2EC2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DF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B05A431-1B2D-65C8-BDBA-2B8A973D0AE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C75FE5-B58C-540C-25AA-802685B34D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0</a:t>
            </a:fld>
            <a:endParaRPr lang="en-US"/>
          </a:p>
        </p:txBody>
      </p:sp>
      <p:pic>
        <p:nvPicPr>
          <p:cNvPr id="6" name="Picture 5" descr="Chart, bar chart&#10;&#10;Description automatically generated">
            <a:extLst>
              <a:ext uri="{FF2B5EF4-FFF2-40B4-BE49-F238E27FC236}">
                <a16:creationId xmlns:a16="http://schemas.microsoft.com/office/drawing/2014/main" id="{E045D787-FFB1-DFFE-BDE0-AAE9660AAA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7000"/>
            <a:ext cx="1219200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7336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03E437-5788-D8D4-9E38-A998F238D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DF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EF92F-777B-DB68-77C0-580DA5C9FF8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0E5181-C0F2-D12D-7C5C-25663112462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1</a:t>
            </a:fld>
            <a:endParaRPr lang="en-US"/>
          </a:p>
        </p:txBody>
      </p:sp>
      <p:pic>
        <p:nvPicPr>
          <p:cNvPr id="6" name="Picture 5" descr="Chart, bar chart&#10;&#10;Description automatically generated">
            <a:extLst>
              <a:ext uri="{FF2B5EF4-FFF2-40B4-BE49-F238E27FC236}">
                <a16:creationId xmlns:a16="http://schemas.microsoft.com/office/drawing/2014/main" id="{1F83EF61-3E89-D806-1122-8D16F46102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7000"/>
            <a:ext cx="1219200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9654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9F7CBC-47C3-5DB9-534E-9DB6D8F3A8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DF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6B3A5E-415D-030E-DF90-1A76FAB680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061BEC-ED90-E8DF-5BE9-4E89C06546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2</a:t>
            </a:fld>
            <a:endParaRPr lang="en-US"/>
          </a:p>
        </p:txBody>
      </p:sp>
      <p:pic>
        <p:nvPicPr>
          <p:cNvPr id="6" name="Picture 5" descr="Chart, bar chart, waterfall chart&#10;&#10;Description automatically generated">
            <a:extLst>
              <a:ext uri="{FF2B5EF4-FFF2-40B4-BE49-F238E27FC236}">
                <a16:creationId xmlns:a16="http://schemas.microsoft.com/office/drawing/2014/main" id="{B73201A4-2D89-C2FB-3A5F-F1DA37C0A3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7000"/>
            <a:ext cx="1219200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0355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A1CA38-07C2-1DFB-B199-C49F90453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Inheritan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93004D-9224-0EED-B527-B33803F33E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7C690C-28AB-3EA1-7AF6-8FD8B93432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3</a:t>
            </a:fld>
            <a:endParaRPr lang="en-US"/>
          </a:p>
        </p:txBody>
      </p:sp>
      <p:pic>
        <p:nvPicPr>
          <p:cNvPr id="6" name="Picture 5" descr="Chart, bar chart&#10;&#10;Description automatically generated">
            <a:extLst>
              <a:ext uri="{FF2B5EF4-FFF2-40B4-BE49-F238E27FC236}">
                <a16:creationId xmlns:a16="http://schemas.microsoft.com/office/drawing/2014/main" id="{81F7FEDB-84E9-3296-A188-0C511389FD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7000"/>
            <a:ext cx="1219200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7104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F54F70-119E-10CA-193C-736174A8E7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Inheritan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EFA2015-3A68-1C42-7A30-11D55093C4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44B15A-8F25-DA46-B15C-9B492F3BBF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4</a:t>
            </a:fld>
            <a:endParaRPr lang="en-US"/>
          </a:p>
        </p:txBody>
      </p:sp>
      <p:pic>
        <p:nvPicPr>
          <p:cNvPr id="6" name="Picture 5" descr="Chart, bar chart&#10;&#10;Description automatically generated">
            <a:extLst>
              <a:ext uri="{FF2B5EF4-FFF2-40B4-BE49-F238E27FC236}">
                <a16:creationId xmlns:a16="http://schemas.microsoft.com/office/drawing/2014/main" id="{418DEF5C-4D16-FA8F-8307-6FA295E1BB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7000"/>
            <a:ext cx="1219200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5503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73BFA1-633A-6EFC-382D-8692EEA4BC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Inheritance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E0AA2F-4D13-4559-3E46-962869547F2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4192D0-5FB8-5B0C-713E-68F927DC5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5</a:t>
            </a:fld>
            <a:endParaRPr lang="en-US"/>
          </a:p>
        </p:txBody>
      </p:sp>
      <p:pic>
        <p:nvPicPr>
          <p:cNvPr id="6" name="Picture 5" descr="Chart, box and whisker chart&#10;&#10;Description automatically generated">
            <a:extLst>
              <a:ext uri="{FF2B5EF4-FFF2-40B4-BE49-F238E27FC236}">
                <a16:creationId xmlns:a16="http://schemas.microsoft.com/office/drawing/2014/main" id="{0EF85E2D-41A5-0126-A47C-1077A26FBF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7000"/>
            <a:ext cx="1219200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2529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A2DD4A-C6CC-14B2-5656-BED46F2A2C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Memory Alloca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9AA395-35C7-56C5-F4CD-836064CCCF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FA8057-E4D7-B7E1-2F42-F76AF37C84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6</a:t>
            </a:fld>
            <a:endParaRPr lang="en-US"/>
          </a:p>
        </p:txBody>
      </p:sp>
      <p:pic>
        <p:nvPicPr>
          <p:cNvPr id="6" name="Picture 5" descr="Chart, waterfall chart&#10;&#10;Description automatically generated">
            <a:extLst>
              <a:ext uri="{FF2B5EF4-FFF2-40B4-BE49-F238E27FC236}">
                <a16:creationId xmlns:a16="http://schemas.microsoft.com/office/drawing/2014/main" id="{B34C7230-6723-4F24-2C4B-DB1F3A85C1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7000"/>
            <a:ext cx="1219200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05795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A2A0B0-55BB-35AF-967B-6C2E561040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Memory Alloca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9E49390-1FB2-8668-6C10-491F289DAD0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650D38-DB82-A917-F16B-CB0861812B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7</a:t>
            </a:fld>
            <a:endParaRPr lang="en-US"/>
          </a:p>
        </p:txBody>
      </p:sp>
      <p:pic>
        <p:nvPicPr>
          <p:cNvPr id="6" name="Picture 5" descr="Chart, bar chart&#10;&#10;Description automatically generated">
            <a:extLst>
              <a:ext uri="{FF2B5EF4-FFF2-40B4-BE49-F238E27FC236}">
                <a16:creationId xmlns:a16="http://schemas.microsoft.com/office/drawing/2014/main" id="{7F4E6B43-8736-30CE-D15D-66E41F9E29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7000"/>
            <a:ext cx="1219200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23757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B85C77-6C2E-F625-9A56-9D278E0032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Memory Alloca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9B8846-F935-BEB3-F949-052D2C3550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1D110A-0DC0-77B7-7A75-ECF0512F3F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8</a:t>
            </a:fld>
            <a:endParaRPr lang="en-US"/>
          </a:p>
        </p:txBody>
      </p:sp>
      <p:pic>
        <p:nvPicPr>
          <p:cNvPr id="6" name="Picture 5" descr="Chart, bar chart&#10;&#10;Description automatically generated">
            <a:extLst>
              <a:ext uri="{FF2B5EF4-FFF2-40B4-BE49-F238E27FC236}">
                <a16:creationId xmlns:a16="http://schemas.microsoft.com/office/drawing/2014/main" id="{41C643E5-EF8E-7643-D2D2-A75495C3F2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97000"/>
            <a:ext cx="1219200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117412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73E26E-B709-CB87-AE37-46D578B64E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clusi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D436C0-297C-C01F-E0E2-76D8BA34E6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81DBFC-D6A6-AD49-F677-2819B653E6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DBE757F-9A07-D221-534C-BC998C674CFC}"/>
              </a:ext>
            </a:extLst>
          </p:cNvPr>
          <p:cNvSpPr txBox="1"/>
          <p:nvPr/>
        </p:nvSpPr>
        <p:spPr>
          <a:xfrm>
            <a:off x="914400" y="1439501"/>
            <a:ext cx="7884851" cy="44319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The profiling tool-chain includ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4 different runtim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3 modes of execu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3 different backend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12 optimization level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3 types of workload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6 benchmarking appl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Analyzed 50375 datapoint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There is an order of magnitude performance penalty in interpreter mode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In both JIT and AOT mode the performance varies from 0.4x to 2x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/>
              <a:t>Recommendations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wasm3 (interpreter mode) </a:t>
            </a:r>
            <a:r>
              <a:rPr lang="en-US" err="1"/>
              <a:t>wasmer-llvm</a:t>
            </a:r>
            <a:r>
              <a:rPr lang="en-US"/>
              <a:t> (JIT mode) </a:t>
            </a:r>
            <a:r>
              <a:rPr lang="en-US" err="1"/>
              <a:t>wamr</a:t>
            </a:r>
            <a:r>
              <a:rPr lang="en-US"/>
              <a:t> (AOT mod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xtensions (Future Work)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Build runtimes with experimental featur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Integrate WASM-OP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Integrate other benchmarking test-suites into the toolchain </a:t>
            </a:r>
          </a:p>
        </p:txBody>
      </p:sp>
    </p:spTree>
    <p:extLst>
      <p:ext uri="{BB962C8B-B14F-4D97-AF65-F5344CB8AC3E}">
        <p14:creationId xmlns:p14="http://schemas.microsoft.com/office/powerpoint/2010/main" val="40477087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5C3193-2E28-4B86-90FC-F5BE56115A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eas of Interes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82552A7-8C03-4BE2-B2F4-0A61933EBD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213709-28CB-41EF-8F52-6BC0583DFC6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BC4799-027F-CFC2-C743-E467EF9475C1}"/>
              </a:ext>
            </a:extLst>
          </p:cNvPr>
          <p:cNvSpPr/>
          <p:nvPr/>
        </p:nvSpPr>
        <p:spPr>
          <a:xfrm>
            <a:off x="1059160" y="2102432"/>
            <a:ext cx="4076511" cy="5260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dirty="0"/>
              <a:t>Range of supported devic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356C966-7D94-D4D1-0FC5-E81286B617E2}"/>
              </a:ext>
            </a:extLst>
          </p:cNvPr>
          <p:cNvSpPr/>
          <p:nvPr/>
        </p:nvSpPr>
        <p:spPr>
          <a:xfrm>
            <a:off x="1059160" y="2893660"/>
            <a:ext cx="4076511" cy="526093"/>
          </a:xfrm>
          <a:prstGeom prst="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dirty="0"/>
              <a:t>Legacy Software Suppor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1178FDF-EEC1-F88F-E96B-CE0E88C39206}"/>
              </a:ext>
            </a:extLst>
          </p:cNvPr>
          <p:cNvSpPr/>
          <p:nvPr/>
        </p:nvSpPr>
        <p:spPr>
          <a:xfrm>
            <a:off x="1059159" y="3684888"/>
            <a:ext cx="4076511" cy="526093"/>
          </a:xfrm>
          <a:prstGeom prst="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dirty="0"/>
              <a:t>Performance and consistenc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107A77A-F53A-D80E-8D94-AC9A7F3B7665}"/>
              </a:ext>
            </a:extLst>
          </p:cNvPr>
          <p:cNvSpPr/>
          <p:nvPr/>
        </p:nvSpPr>
        <p:spPr>
          <a:xfrm>
            <a:off x="1059158" y="1396799"/>
            <a:ext cx="4076511" cy="526093"/>
          </a:xfrm>
          <a:prstGeom prst="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dirty="0"/>
              <a:t>Cyber Physical Contro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AF60868-825B-291C-5E2C-1BF57CC55B5D}"/>
              </a:ext>
            </a:extLst>
          </p:cNvPr>
          <p:cNvSpPr/>
          <p:nvPr/>
        </p:nvSpPr>
        <p:spPr>
          <a:xfrm>
            <a:off x="7797452" y="1396799"/>
            <a:ext cx="3876806" cy="491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B024426-A590-7A82-110C-4458A6F700A0}"/>
              </a:ext>
            </a:extLst>
          </p:cNvPr>
          <p:cNvSpPr txBox="1"/>
          <p:nvPr/>
        </p:nvSpPr>
        <p:spPr>
          <a:xfrm>
            <a:off x="7903923" y="1534438"/>
            <a:ext cx="3632548" cy="43088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Embedded micro controlle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STM32 / ESP32 (&lt;500kb RAM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R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Gateway Support Devic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ARM and x86/64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500mb RA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1 to 4 cor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Linux or RT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Industrial PC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x86/64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16 GB RA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4 cores +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Linux / Window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Cloud Serve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x86/64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16GB +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4 cores +</a:t>
            </a:r>
          </a:p>
        </p:txBody>
      </p:sp>
    </p:spTree>
    <p:extLst>
      <p:ext uri="{BB962C8B-B14F-4D97-AF65-F5344CB8AC3E}">
        <p14:creationId xmlns:p14="http://schemas.microsoft.com/office/powerpoint/2010/main" val="30871681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5C3193-2E28-4B86-90FC-F5BE56115A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eas of Interes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82552A7-8C03-4BE2-B2F4-0A61933EBD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213709-28CB-41EF-8F52-6BC0583DFC6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BC4799-027F-CFC2-C743-E467EF9475C1}"/>
              </a:ext>
            </a:extLst>
          </p:cNvPr>
          <p:cNvSpPr/>
          <p:nvPr/>
        </p:nvSpPr>
        <p:spPr>
          <a:xfrm>
            <a:off x="1059160" y="2102432"/>
            <a:ext cx="4076511" cy="526093"/>
          </a:xfrm>
          <a:prstGeom prst="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dirty="0"/>
              <a:t>Range of supported devic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356C966-7D94-D4D1-0FC5-E81286B617E2}"/>
              </a:ext>
            </a:extLst>
          </p:cNvPr>
          <p:cNvSpPr/>
          <p:nvPr/>
        </p:nvSpPr>
        <p:spPr>
          <a:xfrm>
            <a:off x="1059160" y="2893660"/>
            <a:ext cx="6844763" cy="5260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dirty="0"/>
              <a:t>Legacy Software Suppor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1178FDF-EEC1-F88F-E96B-CE0E88C39206}"/>
              </a:ext>
            </a:extLst>
          </p:cNvPr>
          <p:cNvSpPr/>
          <p:nvPr/>
        </p:nvSpPr>
        <p:spPr>
          <a:xfrm>
            <a:off x="1059159" y="3684888"/>
            <a:ext cx="4076511" cy="526093"/>
          </a:xfrm>
          <a:prstGeom prst="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dirty="0"/>
              <a:t>Performance and consistenc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107A77A-F53A-D80E-8D94-AC9A7F3B7665}"/>
              </a:ext>
            </a:extLst>
          </p:cNvPr>
          <p:cNvSpPr/>
          <p:nvPr/>
        </p:nvSpPr>
        <p:spPr>
          <a:xfrm>
            <a:off x="1059158" y="1396799"/>
            <a:ext cx="4076511" cy="526093"/>
          </a:xfrm>
          <a:prstGeom prst="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dirty="0"/>
              <a:t>Cyber Physical Contro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AF60868-825B-291C-5E2C-1BF57CC55B5D}"/>
              </a:ext>
            </a:extLst>
          </p:cNvPr>
          <p:cNvSpPr/>
          <p:nvPr/>
        </p:nvSpPr>
        <p:spPr>
          <a:xfrm>
            <a:off x="7797452" y="1396799"/>
            <a:ext cx="3876806" cy="491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B024426-A590-7A82-110C-4458A6F700A0}"/>
              </a:ext>
            </a:extLst>
          </p:cNvPr>
          <p:cNvSpPr txBox="1"/>
          <p:nvPr/>
        </p:nvSpPr>
        <p:spPr>
          <a:xfrm>
            <a:off x="7903923" y="1534438"/>
            <a:ext cx="3632548" cy="43088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C and C++ Application Support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The ability to port existing popular libraries and routines to the platform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Application Spa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AI / M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Data process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Data storag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Stream data handl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Control system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bg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Capabilities Need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Exception handl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Thread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Filesystem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Networking and I/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Co-routine suppor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Timing / clock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Access to underlying hardware (STM32 / RTOS, </a:t>
            </a:r>
            <a:r>
              <a:rPr lang="en-US" sz="1400" dirty="0" err="1">
                <a:solidFill>
                  <a:schemeClr val="bg1"/>
                </a:solidFill>
              </a:rPr>
              <a:t>etc</a:t>
            </a:r>
            <a:r>
              <a:rPr lang="en-US" sz="1400" dirty="0">
                <a:solidFill>
                  <a:schemeClr val="bg1"/>
                </a:solidFill>
              </a:rPr>
              <a:t>).</a:t>
            </a:r>
          </a:p>
        </p:txBody>
      </p:sp>
    </p:spTree>
    <p:extLst>
      <p:ext uri="{BB962C8B-B14F-4D97-AF65-F5344CB8AC3E}">
        <p14:creationId xmlns:p14="http://schemas.microsoft.com/office/powerpoint/2010/main" val="27217711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5C3193-2E28-4B86-90FC-F5BE56115A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eas of Interes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82552A7-8C03-4BE2-B2F4-0A61933EBD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213709-28CB-41EF-8F52-6BC0583DFC6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BC4799-027F-CFC2-C743-E467EF9475C1}"/>
              </a:ext>
            </a:extLst>
          </p:cNvPr>
          <p:cNvSpPr/>
          <p:nvPr/>
        </p:nvSpPr>
        <p:spPr>
          <a:xfrm>
            <a:off x="1059160" y="2102432"/>
            <a:ext cx="4076511" cy="526093"/>
          </a:xfrm>
          <a:prstGeom prst="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dirty="0"/>
              <a:t>Range of supported devic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356C966-7D94-D4D1-0FC5-E81286B617E2}"/>
              </a:ext>
            </a:extLst>
          </p:cNvPr>
          <p:cNvSpPr/>
          <p:nvPr/>
        </p:nvSpPr>
        <p:spPr>
          <a:xfrm>
            <a:off x="1059160" y="2893660"/>
            <a:ext cx="4076511" cy="526093"/>
          </a:xfrm>
          <a:prstGeom prst="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dirty="0"/>
              <a:t>Legacy Software Suppor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1178FDF-EEC1-F88F-E96B-CE0E88C39206}"/>
              </a:ext>
            </a:extLst>
          </p:cNvPr>
          <p:cNvSpPr/>
          <p:nvPr/>
        </p:nvSpPr>
        <p:spPr>
          <a:xfrm>
            <a:off x="1059159" y="3684888"/>
            <a:ext cx="6844764" cy="5260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dirty="0"/>
              <a:t>Performance and consistenc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107A77A-F53A-D80E-8D94-AC9A7F3B7665}"/>
              </a:ext>
            </a:extLst>
          </p:cNvPr>
          <p:cNvSpPr/>
          <p:nvPr/>
        </p:nvSpPr>
        <p:spPr>
          <a:xfrm>
            <a:off x="1059158" y="1396799"/>
            <a:ext cx="4076511" cy="526093"/>
          </a:xfrm>
          <a:prstGeom prst="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dirty="0"/>
              <a:t>Cyber Physical Contro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AF60868-825B-291C-5E2C-1BF57CC55B5D}"/>
              </a:ext>
            </a:extLst>
          </p:cNvPr>
          <p:cNvSpPr/>
          <p:nvPr/>
        </p:nvSpPr>
        <p:spPr>
          <a:xfrm>
            <a:off x="7797452" y="1396799"/>
            <a:ext cx="3876806" cy="491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B024426-A590-7A82-110C-4458A6F700A0}"/>
              </a:ext>
            </a:extLst>
          </p:cNvPr>
          <p:cNvSpPr txBox="1"/>
          <p:nvPr/>
        </p:nvSpPr>
        <p:spPr>
          <a:xfrm>
            <a:off x="7903923" y="1534438"/>
            <a:ext cx="3632548" cy="473975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Real time and Performanc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bg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Not “hard”</a:t>
            </a:r>
            <a:endParaRPr lang="en-US" sz="1400" dirty="0">
              <a:solidFill>
                <a:schemeClr val="bg1"/>
              </a:solidFill>
              <a:cs typeface="Arial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Comparison against</a:t>
            </a:r>
            <a:endParaRPr lang="en-US" sz="1400" dirty="0">
              <a:solidFill>
                <a:schemeClr val="bg1"/>
              </a:solidFill>
              <a:cs typeface="Arial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Real Time Linux</a:t>
            </a:r>
            <a:endParaRPr lang="en-US" sz="1400" dirty="0">
              <a:solidFill>
                <a:schemeClr val="bg1"/>
              </a:solidFill>
              <a:cs typeface="Arial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Native </a:t>
            </a:r>
            <a:r>
              <a:rPr lang="en-US" sz="1400" dirty="0" err="1">
                <a:solidFill>
                  <a:schemeClr val="bg1"/>
                </a:solidFill>
              </a:rPr>
              <a:t>gcc</a:t>
            </a:r>
            <a:r>
              <a:rPr lang="en-US" sz="1400" dirty="0">
                <a:solidFill>
                  <a:schemeClr val="bg1"/>
                </a:solidFill>
              </a:rPr>
              <a:t> ‘c/</a:t>
            </a:r>
            <a:r>
              <a:rPr lang="en-US" sz="1400" dirty="0" err="1">
                <a:solidFill>
                  <a:schemeClr val="bg1"/>
                </a:solidFill>
              </a:rPr>
              <a:t>c++</a:t>
            </a:r>
            <a:r>
              <a:rPr lang="en-US" sz="1400" dirty="0">
                <a:solidFill>
                  <a:schemeClr val="bg1"/>
                </a:solidFill>
              </a:rPr>
              <a:t>’</a:t>
            </a:r>
            <a:endParaRPr lang="en-US" sz="1400" dirty="0">
              <a:solidFill>
                <a:schemeClr val="bg1"/>
              </a:solidFill>
              <a:cs typeface="Arial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Prior latency and response time (External Input – GPIO)</a:t>
            </a:r>
            <a:endParaRPr lang="en-US" sz="1400" dirty="0">
              <a:solidFill>
                <a:schemeClr val="bg1"/>
              </a:solidFill>
              <a:cs typeface="Arial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</a:rPr>
              <a:t>Effect of memory bounds checking on algorithm and software desig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bg1"/>
              </a:solidFill>
              <a:cs typeface="Arial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Matrix Multiplication</a:t>
            </a:r>
            <a:endParaRPr lang="en-US" sz="1400" dirty="0">
              <a:solidFill>
                <a:schemeClr val="bg1"/>
              </a:solidFill>
              <a:cs typeface="Arial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Memory Allocation</a:t>
            </a:r>
            <a:endParaRPr lang="en-US" sz="1400" dirty="0">
              <a:solidFill>
                <a:schemeClr val="bg1"/>
              </a:solidFill>
              <a:cs typeface="Arial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Travelling Salesperson</a:t>
            </a:r>
            <a:endParaRPr lang="en-US" sz="1400" dirty="0">
              <a:solidFill>
                <a:schemeClr val="bg1"/>
              </a:solidFill>
              <a:cs typeface="Arial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Merge Sort</a:t>
            </a:r>
            <a:endParaRPr lang="en-US" sz="1400" dirty="0">
              <a:solidFill>
                <a:schemeClr val="bg1"/>
              </a:solidFill>
              <a:cs typeface="Arial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Graph Traversal DFS</a:t>
            </a:r>
            <a:endParaRPr lang="en-US" sz="1400" dirty="0">
              <a:solidFill>
                <a:schemeClr val="bg1"/>
              </a:solidFill>
              <a:cs typeface="Arial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C++ Inheritance – large nested class architectures and virtual functions (</a:t>
            </a:r>
            <a:r>
              <a:rPr lang="en-US" sz="1400" dirty="0" err="1">
                <a:solidFill>
                  <a:schemeClr val="bg1"/>
                </a:solidFill>
              </a:rPr>
              <a:t>vtables</a:t>
            </a:r>
            <a:r>
              <a:rPr lang="en-US" sz="1400" dirty="0">
                <a:solidFill>
                  <a:schemeClr val="bg1"/>
                </a:solidFill>
              </a:rPr>
              <a:t>)</a:t>
            </a:r>
            <a:endParaRPr lang="en-US" sz="1400" dirty="0">
              <a:solidFill>
                <a:schemeClr val="bg1"/>
              </a:solidFill>
              <a:cs typeface="Arial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C372E10-5741-6276-84FC-AA7C1A94BDE2}"/>
              </a:ext>
            </a:extLst>
          </p:cNvPr>
          <p:cNvSpPr txBox="1"/>
          <p:nvPr/>
        </p:nvSpPr>
        <p:spPr>
          <a:xfrm>
            <a:off x="1059158" y="4522226"/>
            <a:ext cx="6446671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/>
              <a:t>Linux kernel: 5.15.65-rt49 #1 SMP PREEMPT_RT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/>
              <a:t>Arch: x86_64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/>
              <a:t>OS: Ubuntu 22.04.1 LT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/>
              <a:t>CPU performance scaling using performance governor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/>
              <a:t>Processor: Core-i5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/>
              <a:t>RAM: 16 GB </a:t>
            </a:r>
          </a:p>
        </p:txBody>
      </p:sp>
    </p:spTree>
    <p:extLst>
      <p:ext uri="{BB962C8B-B14F-4D97-AF65-F5344CB8AC3E}">
        <p14:creationId xmlns:p14="http://schemas.microsoft.com/office/powerpoint/2010/main" val="8848834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9EFFA8D-91BC-B169-433C-82E17A943DE0}"/>
              </a:ext>
            </a:extLst>
          </p:cNvPr>
          <p:cNvSpPr/>
          <p:nvPr/>
        </p:nvSpPr>
        <p:spPr>
          <a:xfrm>
            <a:off x="4666300" y="4465297"/>
            <a:ext cx="4076511" cy="802047"/>
          </a:xfrm>
          <a:prstGeom prst="rect">
            <a:avLst/>
          </a:prstGeom>
          <a:solidFill>
            <a:srgbClr val="00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5C3193-2E28-4B86-90FC-F5BE56115A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eas of Interes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82552A7-8C03-4BE2-B2F4-0A61933EBD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213709-28CB-41EF-8F52-6BC0583DFC6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BC4799-027F-CFC2-C743-E467EF9475C1}"/>
              </a:ext>
            </a:extLst>
          </p:cNvPr>
          <p:cNvSpPr/>
          <p:nvPr/>
        </p:nvSpPr>
        <p:spPr>
          <a:xfrm>
            <a:off x="1059160" y="2102432"/>
            <a:ext cx="4076511" cy="526093"/>
          </a:xfrm>
          <a:prstGeom prst="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dirty="0"/>
              <a:t>Range of supported devic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356C966-7D94-D4D1-0FC5-E81286B617E2}"/>
              </a:ext>
            </a:extLst>
          </p:cNvPr>
          <p:cNvSpPr/>
          <p:nvPr/>
        </p:nvSpPr>
        <p:spPr>
          <a:xfrm>
            <a:off x="1059160" y="2893660"/>
            <a:ext cx="4076511" cy="526093"/>
          </a:xfrm>
          <a:prstGeom prst="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dirty="0"/>
              <a:t>Legacy Software Suppor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1178FDF-EEC1-F88F-E96B-CE0E88C39206}"/>
              </a:ext>
            </a:extLst>
          </p:cNvPr>
          <p:cNvSpPr/>
          <p:nvPr/>
        </p:nvSpPr>
        <p:spPr>
          <a:xfrm>
            <a:off x="1059159" y="3684888"/>
            <a:ext cx="4076511" cy="526093"/>
          </a:xfrm>
          <a:prstGeom prst="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dirty="0"/>
              <a:t>Performance and consistenc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107A77A-F53A-D80E-8D94-AC9A7F3B7665}"/>
              </a:ext>
            </a:extLst>
          </p:cNvPr>
          <p:cNvSpPr/>
          <p:nvPr/>
        </p:nvSpPr>
        <p:spPr>
          <a:xfrm>
            <a:off x="1059158" y="1396799"/>
            <a:ext cx="4076511" cy="526093"/>
          </a:xfrm>
          <a:prstGeom prst="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dirty="0"/>
              <a:t>Cyber Physical Contro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1D0566-7551-39AD-0948-00B7C375F4C8}"/>
              </a:ext>
            </a:extLst>
          </p:cNvPr>
          <p:cNvSpPr/>
          <p:nvPr/>
        </p:nvSpPr>
        <p:spPr>
          <a:xfrm>
            <a:off x="1059158" y="4465297"/>
            <a:ext cx="4076511" cy="8020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dirty="0"/>
              <a:t>Which runtime for which environment?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E2594D9-CB59-6008-4378-DC19AD1DF41A}"/>
              </a:ext>
            </a:extLst>
          </p:cNvPr>
          <p:cNvSpPr/>
          <p:nvPr/>
        </p:nvSpPr>
        <p:spPr>
          <a:xfrm>
            <a:off x="7797452" y="1396799"/>
            <a:ext cx="3876806" cy="491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12A64D4-2BB2-7DE1-ECC8-240888A834C3}"/>
              </a:ext>
            </a:extLst>
          </p:cNvPr>
          <p:cNvSpPr txBox="1"/>
          <p:nvPr/>
        </p:nvSpPr>
        <p:spPr>
          <a:xfrm>
            <a:off x="8035447" y="1732732"/>
            <a:ext cx="3350001" cy="30162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bg1"/>
                </a:solidFill>
              </a:rPr>
              <a:t>Wasmtim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2800" b="1" dirty="0">
              <a:solidFill>
                <a:schemeClr val="bg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bg1"/>
                </a:solidFill>
              </a:rPr>
              <a:t>Wamr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2800" b="1" dirty="0">
              <a:solidFill>
                <a:schemeClr val="bg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800" b="1" dirty="0" err="1">
                <a:solidFill>
                  <a:schemeClr val="bg1"/>
                </a:solidFill>
              </a:rPr>
              <a:t>Wasmer</a:t>
            </a:r>
            <a:endParaRPr lang="en-US" sz="2800" b="1" dirty="0">
              <a:solidFill>
                <a:schemeClr val="bg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2800" b="1" dirty="0">
              <a:solidFill>
                <a:schemeClr val="bg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bg1"/>
                </a:solidFill>
              </a:rPr>
              <a:t>Wasm3</a:t>
            </a:r>
          </a:p>
        </p:txBody>
      </p:sp>
    </p:spTree>
    <p:extLst>
      <p:ext uri="{BB962C8B-B14F-4D97-AF65-F5344CB8AC3E}">
        <p14:creationId xmlns:p14="http://schemas.microsoft.com/office/powerpoint/2010/main" val="37068849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5C3193-2E28-4B86-90FC-F5BE56115A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ntimes Under Tes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82552A7-8C03-4BE2-B2F4-0A61933EBD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213709-28CB-41EF-8F52-6BC0583DFC6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7</a:t>
            </a:fld>
            <a:endParaRPr lang="en-US"/>
          </a:p>
        </p:txBody>
      </p:sp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1ED5349B-BB0D-74A0-FF88-C99186146F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2199862"/>
              </p:ext>
            </p:extLst>
          </p:nvPr>
        </p:nvGraphicFramePr>
        <p:xfrm>
          <a:off x="674643" y="1463836"/>
          <a:ext cx="11209218" cy="40843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868203">
                  <a:extLst>
                    <a:ext uri="{9D8B030D-6E8A-4147-A177-3AD203B41FA5}">
                      <a16:colId xmlns:a16="http://schemas.microsoft.com/office/drawing/2014/main" val="2372028063"/>
                    </a:ext>
                  </a:extLst>
                </a:gridCol>
                <a:gridCol w="1868203">
                  <a:extLst>
                    <a:ext uri="{9D8B030D-6E8A-4147-A177-3AD203B41FA5}">
                      <a16:colId xmlns:a16="http://schemas.microsoft.com/office/drawing/2014/main" val="347417838"/>
                    </a:ext>
                  </a:extLst>
                </a:gridCol>
                <a:gridCol w="1868203">
                  <a:extLst>
                    <a:ext uri="{9D8B030D-6E8A-4147-A177-3AD203B41FA5}">
                      <a16:colId xmlns:a16="http://schemas.microsoft.com/office/drawing/2014/main" val="1347108175"/>
                    </a:ext>
                  </a:extLst>
                </a:gridCol>
                <a:gridCol w="1868203">
                  <a:extLst>
                    <a:ext uri="{9D8B030D-6E8A-4147-A177-3AD203B41FA5}">
                      <a16:colId xmlns:a16="http://schemas.microsoft.com/office/drawing/2014/main" val="1228329562"/>
                    </a:ext>
                  </a:extLst>
                </a:gridCol>
                <a:gridCol w="1868203">
                  <a:extLst>
                    <a:ext uri="{9D8B030D-6E8A-4147-A177-3AD203B41FA5}">
                      <a16:colId xmlns:a16="http://schemas.microsoft.com/office/drawing/2014/main" val="1819665815"/>
                    </a:ext>
                  </a:extLst>
                </a:gridCol>
                <a:gridCol w="1868203">
                  <a:extLst>
                    <a:ext uri="{9D8B030D-6E8A-4147-A177-3AD203B41FA5}">
                      <a16:colId xmlns:a16="http://schemas.microsoft.com/office/drawing/2014/main" val="3673563826"/>
                    </a:ext>
                  </a:extLst>
                </a:gridCol>
              </a:tblGrid>
              <a:tr h="389207">
                <a:tc>
                  <a:txBody>
                    <a:bodyPr/>
                    <a:lstStyle/>
                    <a:p>
                      <a:r>
                        <a:rPr lang="en-US" sz="2000" dirty="0"/>
                        <a:t>Categ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Base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/>
                        <a:t>Wasmtime</a:t>
                      </a:r>
                      <a:endParaRPr lang="en-US" sz="2000" dirty="0" err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/>
                        <a:t>Wamr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/>
                        <a:t>Wasmer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Wasm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2621811"/>
                  </a:ext>
                </a:extLst>
              </a:tr>
              <a:tr h="413238">
                <a:tc>
                  <a:txBody>
                    <a:bodyPr/>
                    <a:lstStyle/>
                    <a:p>
                      <a:r>
                        <a:rPr lang="en-US" sz="2000" b="1" dirty="0"/>
                        <a:t>Interpre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û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û</a:t>
                      </a:r>
                      <a:endParaRPr lang="en-US" sz="2000" dirty="0">
                        <a:latin typeface="MS Shell Dlg 2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Wingdings" panose="05000000000000000000" pitchFamily="2" charset="2"/>
                        </a:rPr>
                        <a:t>ü</a:t>
                      </a:r>
                      <a:endParaRPr lang="en-US" sz="2000">
                        <a:latin typeface="+mj-lt"/>
                      </a:endParaRPr>
                    </a:p>
                    <a:p>
                      <a:r>
                        <a:rPr lang="en-US" sz="1600">
                          <a:latin typeface="+mn-lt"/>
                        </a:rPr>
                        <a:t>(iwasm-CI</a:t>
                      </a:r>
                      <a:r>
                        <a:rPr lang="en-US" sz="2000">
                          <a:latin typeface="+mn-lt"/>
                        </a:rPr>
                        <a:t>,</a:t>
                      </a:r>
                    </a:p>
                    <a:p>
                      <a:r>
                        <a:rPr lang="en-US" sz="1600"/>
                        <a:t>iwasm-FI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>
                          <a:solidFill>
                            <a:schemeClr val="tx1"/>
                          </a:solidFill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û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Wingdings" panose="05000000000000000000" pitchFamily="2" charset="2"/>
                        </a:rPr>
                        <a:t>ü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9955981"/>
                  </a:ext>
                </a:extLst>
              </a:tr>
              <a:tr h="1063510">
                <a:tc>
                  <a:txBody>
                    <a:bodyPr/>
                    <a:lstStyle/>
                    <a:p>
                      <a:r>
                        <a:rPr lang="en-US" sz="2000" b="1" dirty="0"/>
                        <a:t>Just in 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û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>
                          <a:latin typeface="Wingdings" panose="05000000000000000000" pitchFamily="2" charset="2"/>
                        </a:rPr>
                        <a:t>ü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asmtime-cranelift</a:t>
                      </a: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Wingdings" panose="05000000000000000000" pitchFamily="2" charset="2"/>
                        </a:rPr>
                        <a:t>ü</a:t>
                      </a:r>
                      <a:endParaRPr lang="en-US" sz="2000" dirty="0"/>
                    </a:p>
                    <a:p>
                      <a:r>
                        <a:rPr lang="en-US" sz="1600" dirty="0"/>
                        <a:t>(</a:t>
                      </a:r>
                      <a:r>
                        <a:rPr lang="en-US" sz="1600" dirty="0" err="1"/>
                        <a:t>iwasm</a:t>
                      </a:r>
                      <a:r>
                        <a:rPr lang="en-US" sz="1600" dirty="0"/>
                        <a:t>-FJIT,</a:t>
                      </a:r>
                    </a:p>
                    <a:p>
                      <a:r>
                        <a:rPr lang="en-US" sz="1600" i="1" dirty="0" err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wasm</a:t>
                      </a:r>
                      <a:r>
                        <a:rPr lang="en-US" sz="1600" i="1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-LJIT,</a:t>
                      </a:r>
                    </a:p>
                    <a:p>
                      <a:r>
                        <a:rPr lang="en-US" sz="1600" dirty="0" err="1">
                          <a:solidFill>
                            <a:schemeClr val="tx1"/>
                          </a:solidFill>
                        </a:rPr>
                        <a:t>iwasm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-LMCJI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Wingdings" panose="05000000000000000000" pitchFamily="2" charset="2"/>
                        </a:rPr>
                        <a:t>ü</a:t>
                      </a:r>
                      <a:endParaRPr lang="en-US" sz="2000"/>
                    </a:p>
                    <a:p>
                      <a:r>
                        <a:rPr lang="en-US" sz="1600"/>
                        <a:t>(wasmer-llvm, wasmer-singlepass, wasmer-cranelift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latin typeface="Wingdings"/>
                          <a:ea typeface="+mn-ea"/>
                          <a:cs typeface="+mn-cs"/>
                          <a:sym typeface="Wingdings"/>
                        </a:rPr>
                        <a:t>û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2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4345960"/>
                  </a:ext>
                </a:extLst>
              </a:tr>
              <a:tr h="931688">
                <a:tc>
                  <a:txBody>
                    <a:bodyPr/>
                    <a:lstStyle/>
                    <a:p>
                      <a:r>
                        <a:rPr lang="en-US" sz="2000" b="1" dirty="0"/>
                        <a:t>Ahead of 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Wingdings" panose="05000000000000000000" pitchFamily="2" charset="2"/>
                        </a:rPr>
                        <a:t>ü</a:t>
                      </a:r>
                      <a:endParaRPr lang="en-US" sz="2000"/>
                    </a:p>
                    <a:p>
                      <a:r>
                        <a:rPr lang="en-US" sz="1600"/>
                        <a:t>(GCC Native AMD64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>
                          <a:latin typeface="Wingdings" panose="05000000000000000000" pitchFamily="2" charset="2"/>
                        </a:rPr>
                        <a:t>ü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asmtime-cranelift</a:t>
                      </a: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Wingdings" panose="05000000000000000000" pitchFamily="2" charset="2"/>
                        </a:rPr>
                        <a:t>ü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iwasm-AOT)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latin typeface="Wingdings" panose="05000000000000000000" pitchFamily="2" charset="2"/>
                        </a:rPr>
                        <a:t>ü</a:t>
                      </a:r>
                      <a:endParaRPr lang="en-US" sz="200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asmer-llvm</a:t>
                      </a: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asmer-singlepass</a:t>
                      </a: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asmer-cranelift</a:t>
                      </a: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û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kern="1200" dirty="0">
                        <a:solidFill>
                          <a:schemeClr val="tx1"/>
                        </a:solidFill>
                        <a:latin typeface="Wingdings" panose="05000000000000000000" pitchFamily="2" charset="2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8896304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F3E5081-637C-F8DF-8DEC-0D31921D34CA}"/>
              </a:ext>
            </a:extLst>
          </p:cNvPr>
          <p:cNvSpPr txBox="1"/>
          <p:nvPr/>
        </p:nvSpPr>
        <p:spPr>
          <a:xfrm>
            <a:off x="9962454" y="6095356"/>
            <a:ext cx="192140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i="1" dirty="0">
                <a:solidFill>
                  <a:schemeClr val="bg1">
                    <a:lumMod val="65000"/>
                  </a:schemeClr>
                </a:solidFill>
              </a:rPr>
              <a:t>* Still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18253023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DB2A3-CB51-4B5C-87B6-CA9E5F36B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Create our own test suite ?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7D591E-85C9-40DD-82A3-529B5A82A9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911F2C-368C-475F-A884-C2FC8C38A5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5DDD6C-D839-407E-9D7F-EC4475C551B2}"/>
              </a:ext>
            </a:extLst>
          </p:cNvPr>
          <p:cNvSpPr txBox="1"/>
          <p:nvPr/>
        </p:nvSpPr>
        <p:spPr>
          <a:xfrm>
            <a:off x="611688" y="2142810"/>
            <a:ext cx="4272645" cy="32726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>
                <a:hlinkClick r:id="rId2"/>
              </a:rPr>
              <a:t>Jetstream 2</a:t>
            </a:r>
            <a:endParaRPr lang="en-US"/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err="1">
                <a:hlinkClick r:id="rId3"/>
              </a:rPr>
              <a:t>PSPDFKit</a:t>
            </a:r>
            <a:r>
              <a:rPr lang="en-US">
                <a:hlinkClick r:id="rId3"/>
              </a:rPr>
              <a:t> </a:t>
            </a:r>
            <a:r>
              <a:rPr lang="en-US" err="1">
                <a:hlinkClick r:id="rId3"/>
              </a:rPr>
              <a:t>WebAssembly</a:t>
            </a:r>
            <a:r>
              <a:rPr lang="en-US">
                <a:hlinkClick r:id="rId3"/>
              </a:rPr>
              <a:t> Benchmark</a:t>
            </a:r>
            <a:endParaRPr lang="en-US"/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err="1">
                <a:hlinkClick r:id="rId4"/>
              </a:rPr>
              <a:t>WebAssembly</a:t>
            </a:r>
            <a:r>
              <a:rPr lang="en-US">
                <a:hlinkClick r:id="rId4"/>
              </a:rPr>
              <a:t> Benchmarking Proposal</a:t>
            </a:r>
            <a:endParaRPr lang="en-US"/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>
                <a:hlinkClick r:id="rId5"/>
              </a:rPr>
              <a:t>Massive</a:t>
            </a:r>
            <a:endParaRPr lang="en-US"/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err="1">
                <a:hlinkClick r:id="rId6"/>
              </a:rPr>
              <a:t>Embenchen</a:t>
            </a:r>
            <a:r>
              <a:rPr lang="en-US"/>
              <a:t> (Deprecated)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>
                <a:solidFill>
                  <a:srgbClr val="C00000"/>
                </a:solidFill>
                <a:hlinkClick r:id="rId7"/>
              </a:rPr>
              <a:t>Coremark</a:t>
            </a:r>
            <a:endParaRPr lang="en-US">
              <a:solidFill>
                <a:srgbClr val="C00000"/>
              </a:solidFill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err="1">
                <a:solidFill>
                  <a:srgbClr val="C00000"/>
                </a:solidFill>
                <a:hlinkClick r:id="rId8"/>
              </a:rPr>
              <a:t>Polybench</a:t>
            </a:r>
            <a:endParaRPr lang="en-US">
              <a:solidFill>
                <a:srgbClr val="C00000"/>
              </a:solidFill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err="1">
                <a:solidFill>
                  <a:srgbClr val="C00000"/>
                </a:solidFill>
                <a:hlinkClick r:id="rId9"/>
              </a:rPr>
              <a:t>Sightglass</a:t>
            </a:r>
            <a:endParaRPr lang="en-US">
              <a:solidFill>
                <a:srgbClr val="C00000"/>
              </a:solidFill>
            </a:endParaRP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1825B8E1-3970-4416-8204-754FE7037B3B}"/>
              </a:ext>
            </a:extLst>
          </p:cNvPr>
          <p:cNvSpPr/>
          <p:nvPr/>
        </p:nvSpPr>
        <p:spPr>
          <a:xfrm>
            <a:off x="4864275" y="2149074"/>
            <a:ext cx="839244" cy="1979112"/>
          </a:xfrm>
          <a:prstGeom prst="rightBrace">
            <a:avLst/>
          </a:prstGeom>
          <a:ln w="9525">
            <a:solidFill>
              <a:schemeClr val="accent1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4A4A09-AB47-4657-BB46-CFD578489F9F}"/>
              </a:ext>
            </a:extLst>
          </p:cNvPr>
          <p:cNvSpPr txBox="1"/>
          <p:nvPr/>
        </p:nvSpPr>
        <p:spPr>
          <a:xfrm>
            <a:off x="5933530" y="2994580"/>
            <a:ext cx="402257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/>
              <a:t>Focus on Web, assume </a:t>
            </a:r>
            <a:r>
              <a:rPr lang="en-US" err="1"/>
              <a:t>Javascript</a:t>
            </a:r>
            <a:r>
              <a:rPr lang="en-US"/>
              <a:t> host</a:t>
            </a:r>
          </a:p>
        </p:txBody>
      </p:sp>
      <p:sp>
        <p:nvSpPr>
          <p:cNvPr id="8" name="Right Brace 7">
            <a:extLst>
              <a:ext uri="{FF2B5EF4-FFF2-40B4-BE49-F238E27FC236}">
                <a16:creationId xmlns:a16="http://schemas.microsoft.com/office/drawing/2014/main" id="{95C7C14D-A684-4EA4-B72A-6934535225E8}"/>
              </a:ext>
            </a:extLst>
          </p:cNvPr>
          <p:cNvSpPr/>
          <p:nvPr/>
        </p:nvSpPr>
        <p:spPr>
          <a:xfrm>
            <a:off x="4864276" y="4178290"/>
            <a:ext cx="722968" cy="754376"/>
          </a:xfrm>
          <a:prstGeom prst="rightBrace">
            <a:avLst/>
          </a:prstGeom>
          <a:ln w="9525">
            <a:solidFill>
              <a:schemeClr val="accent1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7452BDB-816B-4145-B6E8-7B655B7F770E}"/>
              </a:ext>
            </a:extLst>
          </p:cNvPr>
          <p:cNvSpPr txBox="1"/>
          <p:nvPr/>
        </p:nvSpPr>
        <p:spPr>
          <a:xfrm>
            <a:off x="5829146" y="4425691"/>
            <a:ext cx="447558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/>
              <a:t>Collection of compute intensive c program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D61BD2C-A28B-41D5-8A94-46F511FD0192}"/>
              </a:ext>
            </a:extLst>
          </p:cNvPr>
          <p:cNvSpPr txBox="1"/>
          <p:nvPr/>
        </p:nvSpPr>
        <p:spPr>
          <a:xfrm>
            <a:off x="5829145" y="5031420"/>
            <a:ext cx="5933356" cy="110799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/>
              <a:t>Profiling benchmark well suited for our use case, </a:t>
            </a:r>
          </a:p>
          <a:p>
            <a:pPr algn="l"/>
            <a:r>
              <a:rPr lang="en-US" dirty="0"/>
              <a:t>but is not intended for general purposes. </a:t>
            </a:r>
          </a:p>
          <a:p>
            <a:pPr algn="l"/>
            <a:r>
              <a:rPr lang="en-US" dirty="0"/>
              <a:t>It is used to compare performance of different versions of </a:t>
            </a:r>
          </a:p>
          <a:p>
            <a:pPr algn="l"/>
            <a:r>
              <a:rPr lang="en-US" dirty="0"/>
              <a:t>Wasmtime and Cranelift </a:t>
            </a:r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F9E32E3C-4323-4648-96BC-2B0AB51A271F}"/>
              </a:ext>
            </a:extLst>
          </p:cNvPr>
          <p:cNvSpPr/>
          <p:nvPr/>
        </p:nvSpPr>
        <p:spPr>
          <a:xfrm>
            <a:off x="4864275" y="4982770"/>
            <a:ext cx="722968" cy="432731"/>
          </a:xfrm>
          <a:prstGeom prst="rightBrace">
            <a:avLst/>
          </a:prstGeom>
          <a:ln w="9525">
            <a:solidFill>
              <a:schemeClr val="accent1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1ED568D-3D46-81B4-26E0-C5A9772C5AFC}"/>
              </a:ext>
            </a:extLst>
          </p:cNvPr>
          <p:cNvSpPr/>
          <p:nvPr/>
        </p:nvSpPr>
        <p:spPr>
          <a:xfrm>
            <a:off x="288806" y="1226184"/>
            <a:ext cx="11289447" cy="4373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l"/>
            <a:r>
              <a:rPr lang="en-US" b="1" dirty="0">
                <a:solidFill>
                  <a:schemeClr val="tx1"/>
                </a:solidFill>
              </a:rPr>
              <a:t>Focus on embeddable / non browser environments</a:t>
            </a:r>
          </a:p>
        </p:txBody>
      </p:sp>
    </p:spTree>
    <p:extLst>
      <p:ext uri="{BB962C8B-B14F-4D97-AF65-F5344CB8AC3E}">
        <p14:creationId xmlns:p14="http://schemas.microsoft.com/office/powerpoint/2010/main" val="18698537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BE3B06-77CE-4ABD-B977-C0455ADDD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enchmarking </a:t>
            </a:r>
            <a:r>
              <a:rPr lang="en-US" dirty="0"/>
              <a:t>Applications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1C1562-5D7A-4863-8D5E-657F0C9C74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22 | Dr Ajay Chhokra, Chris Woods | T SSP AVI US| February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EBB1A7-3328-4758-8628-45277C583B6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9</a:t>
            </a:fld>
            <a:endParaRPr lang="en-US"/>
          </a:p>
        </p:txBody>
      </p:sp>
      <p:graphicFrame>
        <p:nvGraphicFramePr>
          <p:cNvPr id="14" name="Table 14">
            <a:extLst>
              <a:ext uri="{FF2B5EF4-FFF2-40B4-BE49-F238E27FC236}">
                <a16:creationId xmlns:a16="http://schemas.microsoft.com/office/drawing/2014/main" id="{55981CFD-6080-6B5D-F14B-1139F0AE64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602669"/>
              </p:ext>
            </p:extLst>
          </p:nvPr>
        </p:nvGraphicFramePr>
        <p:xfrm>
          <a:off x="446671" y="1104280"/>
          <a:ext cx="11602528" cy="419074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657504">
                  <a:extLst>
                    <a:ext uri="{9D8B030D-6E8A-4147-A177-3AD203B41FA5}">
                      <a16:colId xmlns:a16="http://schemas.microsoft.com/office/drawing/2014/main" val="1916485902"/>
                    </a:ext>
                  </a:extLst>
                </a:gridCol>
                <a:gridCol w="1657504">
                  <a:extLst>
                    <a:ext uri="{9D8B030D-6E8A-4147-A177-3AD203B41FA5}">
                      <a16:colId xmlns:a16="http://schemas.microsoft.com/office/drawing/2014/main" val="3120788327"/>
                    </a:ext>
                  </a:extLst>
                </a:gridCol>
                <a:gridCol w="1657504">
                  <a:extLst>
                    <a:ext uri="{9D8B030D-6E8A-4147-A177-3AD203B41FA5}">
                      <a16:colId xmlns:a16="http://schemas.microsoft.com/office/drawing/2014/main" val="1999866282"/>
                    </a:ext>
                  </a:extLst>
                </a:gridCol>
                <a:gridCol w="1657504">
                  <a:extLst>
                    <a:ext uri="{9D8B030D-6E8A-4147-A177-3AD203B41FA5}">
                      <a16:colId xmlns:a16="http://schemas.microsoft.com/office/drawing/2014/main" val="1188092976"/>
                    </a:ext>
                  </a:extLst>
                </a:gridCol>
                <a:gridCol w="1657504">
                  <a:extLst>
                    <a:ext uri="{9D8B030D-6E8A-4147-A177-3AD203B41FA5}">
                      <a16:colId xmlns:a16="http://schemas.microsoft.com/office/drawing/2014/main" val="641122619"/>
                    </a:ext>
                  </a:extLst>
                </a:gridCol>
                <a:gridCol w="1657504">
                  <a:extLst>
                    <a:ext uri="{9D8B030D-6E8A-4147-A177-3AD203B41FA5}">
                      <a16:colId xmlns:a16="http://schemas.microsoft.com/office/drawing/2014/main" val="4155492025"/>
                    </a:ext>
                  </a:extLst>
                </a:gridCol>
                <a:gridCol w="1657504">
                  <a:extLst>
                    <a:ext uri="{9D8B030D-6E8A-4147-A177-3AD203B41FA5}">
                      <a16:colId xmlns:a16="http://schemas.microsoft.com/office/drawing/2014/main" val="2432816064"/>
                    </a:ext>
                  </a:extLst>
                </a:gridCol>
              </a:tblGrid>
              <a:tr h="1264660">
                <a:tc>
                  <a:txBody>
                    <a:bodyPr/>
                    <a:lstStyle/>
                    <a:p>
                      <a:r>
                        <a:rPr lang="en-US" dirty="0"/>
                        <a:t>T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trix Multipl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emory Allo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ravelling Salespers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erge S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raph Traversal DF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herit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4627173"/>
                  </a:ext>
                </a:extLst>
              </a:tr>
              <a:tr h="680970">
                <a:tc>
                  <a:txBody>
                    <a:bodyPr/>
                    <a:lstStyle/>
                    <a:p>
                      <a:r>
                        <a:rPr lang="en-US" b="1" dirty="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Multiplies two square matric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>Allocate and de-allocate linear heap in a fixed patter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>Solves a travelling salesperson proble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>Sorts a list using merge sort (statically defined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>Performs a DFS on a binary tree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Iterate over the inheritance tre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911817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b="1" dirty="0"/>
                        <a:t>Input &amp; Sc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Matrix Size</a:t>
                      </a:r>
                    </a:p>
                    <a:p>
                      <a:endParaRPr lang="en-US" dirty="0"/>
                    </a:p>
                    <a:p>
                      <a:r>
                        <a:rPr lang="en-US" dirty="0"/>
                        <a:t>10x10</a:t>
                      </a:r>
                    </a:p>
                    <a:p>
                      <a:r>
                        <a:rPr lang="en-US" dirty="0"/>
                        <a:t>100x100</a:t>
                      </a:r>
                    </a:p>
                    <a:p>
                      <a:r>
                        <a:rPr lang="en-US" dirty="0"/>
                        <a:t>1000x1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Allocation</a:t>
                      </a:r>
                    </a:p>
                    <a:p>
                      <a:r>
                        <a:rPr lang="en-US" dirty="0"/>
                        <a:t>(initial heap)</a:t>
                      </a:r>
                    </a:p>
                    <a:p>
                      <a:r>
                        <a:rPr lang="en-US" dirty="0"/>
                        <a:t>110% </a:t>
                      </a:r>
                    </a:p>
                    <a:p>
                      <a:r>
                        <a:rPr lang="en-US" dirty="0"/>
                        <a:t>120%</a:t>
                      </a:r>
                    </a:p>
                    <a:p>
                      <a:r>
                        <a:rPr lang="en-US" dirty="0"/>
                        <a:t>130%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Distance Matrix</a:t>
                      </a:r>
                    </a:p>
                    <a:p>
                      <a:r>
                        <a:rPr lang="en-US" dirty="0"/>
                        <a:t>6x6</a:t>
                      </a:r>
                    </a:p>
                    <a:p>
                      <a:r>
                        <a:rPr lang="en-US" dirty="0"/>
                        <a:t>10x10</a:t>
                      </a:r>
                    </a:p>
                    <a:p>
                      <a:r>
                        <a:rPr lang="en-US" dirty="0"/>
                        <a:t>15x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List</a:t>
                      </a:r>
                    </a:p>
                    <a:p>
                      <a:endParaRPr lang="en-US" dirty="0"/>
                    </a:p>
                    <a:p>
                      <a:r>
                        <a:rPr lang="en-US" dirty="0"/>
                        <a:t>100</a:t>
                      </a:r>
                    </a:p>
                    <a:p>
                      <a:r>
                        <a:rPr lang="en-US" dirty="0"/>
                        <a:t>1000</a:t>
                      </a:r>
                    </a:p>
                    <a:p>
                      <a:r>
                        <a:rPr lang="en-US" dirty="0"/>
                        <a:t>1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Graph Size</a:t>
                      </a:r>
                    </a:p>
                    <a:p>
                      <a:endParaRPr lang="en-US" dirty="0"/>
                    </a:p>
                    <a:p>
                      <a:r>
                        <a:rPr lang="en-US" dirty="0"/>
                        <a:t>64</a:t>
                      </a:r>
                    </a:p>
                    <a:p>
                      <a:r>
                        <a:rPr lang="en-US" dirty="0"/>
                        <a:t>128</a:t>
                      </a:r>
                    </a:p>
                    <a:p>
                      <a:r>
                        <a:rPr lang="en-US" dirty="0"/>
                        <a:t>25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Inheritance Tree</a:t>
                      </a:r>
                    </a:p>
                    <a:p>
                      <a:r>
                        <a:rPr lang="en-US" dirty="0"/>
                        <a:t>5x5</a:t>
                      </a:r>
                    </a:p>
                    <a:p>
                      <a:r>
                        <a:rPr lang="en-US" dirty="0"/>
                        <a:t>10x10</a:t>
                      </a:r>
                    </a:p>
                    <a:p>
                      <a:r>
                        <a:rPr lang="en-US" dirty="0"/>
                        <a:t>15x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165037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1E2A76D5-91F1-101F-F758-4C316119479E}"/>
              </a:ext>
            </a:extLst>
          </p:cNvPr>
          <p:cNvSpPr txBox="1"/>
          <p:nvPr/>
        </p:nvSpPr>
        <p:spPr>
          <a:xfrm>
            <a:off x="770669" y="5290280"/>
            <a:ext cx="11278530" cy="1177374"/>
          </a:xfrm>
          <a:prstGeom prst="rect">
            <a:avLst/>
          </a:prstGeom>
          <a:noFill/>
        </p:spPr>
        <p:txBody>
          <a:bodyPr wrap="square" numCol="2">
            <a:spAutoFit/>
          </a:bodyPr>
          <a:lstStyle/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Only import WASI functions.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Input via I/O and results via I/O.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Repeated executions x 25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High Priority - Prevent preemption.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Pinned to specific CPU.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1258691-38EC-1141-D1BD-3CEAC6A7C082}"/>
              </a:ext>
            </a:extLst>
          </p:cNvPr>
          <p:cNvCxnSpPr>
            <a:cxnSpLocks/>
          </p:cNvCxnSpPr>
          <p:nvPr/>
        </p:nvCxnSpPr>
        <p:spPr>
          <a:xfrm>
            <a:off x="446671" y="5295020"/>
            <a:ext cx="11602528" cy="0"/>
          </a:xfrm>
          <a:prstGeom prst="line">
            <a:avLst/>
          </a:prstGeom>
          <a:ln w="19050">
            <a:headEnd w="lg" len="lg"/>
            <a:tailEnd type="none" w="lg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0112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2016-b5b55c2754ed"/>
</p:tagLst>
</file>

<file path=ppt/theme/theme1.xml><?xml version="1.0" encoding="utf-8"?>
<a:theme xmlns:a="http://schemas.openxmlformats.org/drawingml/2006/main" name="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4C3AAF00DE134BA31C198BFAC7255C" ma:contentTypeVersion="2" ma:contentTypeDescription="Create a new document." ma:contentTypeScope="" ma:versionID="62d6ddf94aa60468d824a0a57a25418f">
  <xsd:schema xmlns:xsd="http://www.w3.org/2001/XMLSchema" xmlns:xs="http://www.w3.org/2001/XMLSchema" xmlns:p="http://schemas.microsoft.com/office/2006/metadata/properties" xmlns:ns2="3a528105-d365-4682-9a09-7c9212fb30ec" targetNamespace="http://schemas.microsoft.com/office/2006/metadata/properties" ma:root="true" ma:fieldsID="d167d84b5c93055f6fdb083543c85cde" ns2:_="">
    <xsd:import namespace="3a528105-d365-4682-9a09-7c9212fb30e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528105-d365-4682-9a09-7c9212fb30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90D17C8-EB9E-414E-BE9B-6B7076769063}">
  <ds:schemaRefs>
    <ds:schemaRef ds:uri="3a528105-d365-4682-9a09-7c9212fb30e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1C46B11F-0E31-41DC-B9ED-65F5AA2619F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ED9E047-6960-4C11-B60C-4BDD5E18961E}">
  <ds:schemaRefs>
    <ds:schemaRef ds:uri="3a528105-d365-4682-9a09-7c9212fb30ec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6</TotalTime>
  <Words>1498</Words>
  <Application>Microsoft Office PowerPoint</Application>
  <PresentationFormat>Widescreen</PresentationFormat>
  <Paragraphs>314</Paragraphs>
  <Slides>29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3" baseType="lpstr">
      <vt:lpstr>Arial</vt:lpstr>
      <vt:lpstr>MS Shell Dlg 2</vt:lpstr>
      <vt:lpstr>Wingdings</vt:lpstr>
      <vt:lpstr>Siemens 2020</vt:lpstr>
      <vt:lpstr>WASM Performance Investigation</vt:lpstr>
      <vt:lpstr>Areas of Interest</vt:lpstr>
      <vt:lpstr>Areas of Interest</vt:lpstr>
      <vt:lpstr>Areas of Interest</vt:lpstr>
      <vt:lpstr>Areas of Interest</vt:lpstr>
      <vt:lpstr>Areas of Interest</vt:lpstr>
      <vt:lpstr>Runtimes Under Test</vt:lpstr>
      <vt:lpstr>Why Create our own test suite ? </vt:lpstr>
      <vt:lpstr>Benchmarking Applications</vt:lpstr>
      <vt:lpstr>Toolchain Overview &amp; More Test Combinations</vt:lpstr>
      <vt:lpstr>Results: Matrix Multiplication</vt:lpstr>
      <vt:lpstr>Results: Matrix Multiplication</vt:lpstr>
      <vt:lpstr>Results: Matrix Multiplication</vt:lpstr>
      <vt:lpstr>Results: TSP</vt:lpstr>
      <vt:lpstr>Results: TSP</vt:lpstr>
      <vt:lpstr>Results: TSP</vt:lpstr>
      <vt:lpstr>Results: Sort</vt:lpstr>
      <vt:lpstr>Results: Sort</vt:lpstr>
      <vt:lpstr>Results: Sort</vt:lpstr>
      <vt:lpstr>Results: DFS</vt:lpstr>
      <vt:lpstr>Results: DFS</vt:lpstr>
      <vt:lpstr>Results: DFS</vt:lpstr>
      <vt:lpstr>Results: Inheritance</vt:lpstr>
      <vt:lpstr>Results: Inheritance</vt:lpstr>
      <vt:lpstr>Results: Inheritance </vt:lpstr>
      <vt:lpstr>Results: Memory Allocation</vt:lpstr>
      <vt:lpstr>Results: Memory Allocation</vt:lpstr>
      <vt:lpstr>Results: Memory Allocation</vt:lpstr>
      <vt:lpstr>Conclu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blem</dc:title>
  <dc:creator>Woods, Chris (T RDA SSI AVI-US)</dc:creator>
  <cp:lastModifiedBy>Woods, Chris (T SSP AVI-US)</cp:lastModifiedBy>
  <cp:revision>4</cp:revision>
  <dcterms:created xsi:type="dcterms:W3CDTF">2021-03-18T16:27:20Z</dcterms:created>
  <dcterms:modified xsi:type="dcterms:W3CDTF">2022-10-28T15:42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59b6cd5-d141-4a33-8bf1-0ca04484304f_Enabled">
    <vt:lpwstr>true</vt:lpwstr>
  </property>
  <property fmtid="{D5CDD505-2E9C-101B-9397-08002B2CF9AE}" pid="3" name="MSIP_Label_a59b6cd5-d141-4a33-8bf1-0ca04484304f_SetDate">
    <vt:lpwstr>2021-03-22T14:29:42Z</vt:lpwstr>
  </property>
  <property fmtid="{D5CDD505-2E9C-101B-9397-08002B2CF9AE}" pid="4" name="MSIP_Label_a59b6cd5-d141-4a33-8bf1-0ca04484304f_Method">
    <vt:lpwstr>Standard</vt:lpwstr>
  </property>
  <property fmtid="{D5CDD505-2E9C-101B-9397-08002B2CF9AE}" pid="5" name="MSIP_Label_a59b6cd5-d141-4a33-8bf1-0ca04484304f_Name">
    <vt:lpwstr>restricted-default</vt:lpwstr>
  </property>
  <property fmtid="{D5CDD505-2E9C-101B-9397-08002B2CF9AE}" pid="6" name="MSIP_Label_a59b6cd5-d141-4a33-8bf1-0ca04484304f_SiteId">
    <vt:lpwstr>38ae3bcd-9579-4fd4-adda-b42e1495d55a</vt:lpwstr>
  </property>
  <property fmtid="{D5CDD505-2E9C-101B-9397-08002B2CF9AE}" pid="7" name="MSIP_Label_a59b6cd5-d141-4a33-8bf1-0ca04484304f_ActionId">
    <vt:lpwstr>a5e96d80-a62d-48bf-87d5-c8714b715455</vt:lpwstr>
  </property>
  <property fmtid="{D5CDD505-2E9C-101B-9397-08002B2CF9AE}" pid="8" name="MSIP_Label_a59b6cd5-d141-4a33-8bf1-0ca04484304f_ContentBits">
    <vt:lpwstr>0</vt:lpwstr>
  </property>
  <property fmtid="{D5CDD505-2E9C-101B-9397-08002B2CF9AE}" pid="9" name="Document_Confidentiality">
    <vt:lpwstr>Restricted</vt:lpwstr>
  </property>
</Properties>
</file>